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1013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940125111706882E-3"/>
          <c:y val="5.8097531607465384E-2"/>
          <c:w val="0.98141197497765864"/>
          <c:h val="0.8838049367850692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2A4-4A46-8E78-365CB7A12747}"/>
                </c:ext>
              </c:extLst>
            </c:dLbl>
            <c:dLbl>
              <c:idx val="1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2A4-4A46-8E78-365CB7A12747}"/>
                </c:ext>
              </c:extLst>
            </c:dLbl>
            <c:dLbl>
              <c:idx val="2"/>
              <c:layout>
                <c:manualLayout>
                  <c:x val="0"/>
                  <c:y val="-1.204093919325707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2A4-4A46-8E78-365CB7A127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A4-4A46-8E78-365CB7A12747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2A4-4A46-8E78-365CB7A12747}"/>
                </c:ext>
              </c:extLst>
            </c:dLbl>
            <c:dLbl>
              <c:idx val="1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2A4-4A46-8E78-365CB7A12747}"/>
                </c:ext>
              </c:extLst>
            </c:dLbl>
            <c:dLbl>
              <c:idx val="2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2A4-4A46-8E78-365CB7A127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2A4-4A46-8E78-365CB7A12747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2A4-4A46-8E78-365CB7A12747}"/>
                </c:ext>
              </c:extLst>
            </c:dLbl>
            <c:dLbl>
              <c:idx val="1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2A4-4A46-8E78-365CB7A12747}"/>
                </c:ext>
              </c:extLst>
            </c:dLbl>
            <c:dLbl>
              <c:idx val="2"/>
              <c:layout>
                <c:manualLayout>
                  <c:x val="0"/>
                  <c:y val="-9.03070439494280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2A4-4A46-8E78-365CB7A127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2A4-4A46-8E78-365CB7A127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98407520"/>
        <c:axId val="1"/>
      </c:barChart>
      <c:catAx>
        <c:axId val="798407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98407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E37F2-18BA-36DF-B4E3-669ADE2BAE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2539B0-24B5-FC6A-7E02-2D44F9C9B6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94C962-0FF0-68B2-DA49-BC030EE4E7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A0D0F5-085D-5390-FDEF-1173D7C4F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706821-DF9C-828C-8A37-660885F96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178164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CA5D9-F895-8EDC-3950-316D990ED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394A49-C39E-DE73-79D7-5A86C85C93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41462C-B3C1-4AC1-46D7-33F660706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4794D6-4D29-F0FC-3FA4-4D3C69597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F5A8E-1AEB-4771-4C44-6A5D750C3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14018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3FE968-BE94-AB4C-B6C9-E876D3E69F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9112AC-5B95-9BD5-8088-4F9994281E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775B8D-E038-2ADC-9EB7-F2D5EFF68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6DD4C9-46B8-D92F-9A16-6FA1ADCA9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250A62-96FD-8250-020F-634282B75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54670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47C1B4-CE01-8851-DA91-D3B80572BE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F490FB-3D14-1D84-2BE8-42205CA0D9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D5C07A-304B-929E-3048-D5BCC4B8A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446EED-6C42-5A6B-F384-14A0FA81A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12B5F-19A1-5D07-0072-B71E21B17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3555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1610C-ED3A-B5C0-E3FC-DF557A1C5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662F06-9FD1-4739-18AC-3EAB1E50B6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3D2F87-87A4-353E-B07F-F14D3D9D6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8E124C-CF07-B9B4-CAC1-C4DFD8596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28DB43-DCE4-4CE1-A79B-8E44D07E6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4846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055A6-7991-5D70-985E-5EC71CA25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9B0D83-D365-3CA1-3831-9C6D979599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0EB6B4-C0B5-67D5-A888-D092E9AFEF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9C9093-083B-1393-FB49-2653081E11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8A2F0A-110F-73A7-ECB6-F3DFB2B4F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5B53C0-9908-EF5C-BB5E-2AD8D1A6C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48282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02D14-C8C0-EE5A-A429-624D35A75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C0298B-09B4-694D-AAEA-9A44142B7F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DDD6B6-8064-F5A5-1801-25A2C53E6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74CD2F-B863-5D4D-F9DC-73B083CF2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0140192-D85F-8386-D853-B40B6C9A18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F394A3-785A-24BB-0753-D3DB5F325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F1A485-8D32-BC0B-367B-FF88BE699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197D25F-BBE7-F8EB-2EAD-DDAE0DBB7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7095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91AFC5-0BA5-2773-9BB0-69EAE6F75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8C34CA-7B7F-6303-C8A2-3573F673D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C5E24C-73A5-24D2-9752-3FAC13657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2333EA-B3E0-A476-EABB-0FEB9E3F3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78444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B2FFA9-47FD-69EC-DB73-99F66E682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4F15A-C5A7-1380-0BE1-3519781FB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EFCB87-27E1-2F13-36DF-139BE5EF7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135891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A2018-AB2E-645B-4B71-43046773B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9D5983-C56D-E127-471E-F26FB3274E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09866C-DEF6-BCA2-9D2A-6B5EF67348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F44E3D-9DEC-630E-B15D-5FFF310C90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5B40E8-786F-C253-156F-2104FFA2F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AAF41A-641F-EFAE-968A-A6EE1D6C2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05426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5EE0D-759A-81BE-F6B4-0EE76BBFD7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CDA02C-C5F2-F9C8-D621-7F9CDA7E1E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12CFAE-3D0D-C458-963A-EE2F6867EA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7D183F-BE3A-8550-48EF-D071FD9044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BF5678-13E3-33FB-1171-81A02EF57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0E1896-FC80-824A-2FD3-661CF997C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12075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09D4AEA-A73C-9D8C-1CB1-1E0A492804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7222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620D68-DB51-E8B4-8B96-806F3D346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008378-2B7D-20B9-4EB7-BBC65B04F8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EC348C-6179-47AD-9E92-F7AE2E54289E}" type="datetimeFigureOut">
              <a:rPr lang="en-AU" smtClean="0"/>
              <a:t>6/05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E143B-D4A7-7423-FFBC-A2E4A2EA2C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EB66B5-5BDA-2BDB-DD1E-3E4D0C5B6B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13E2AD5-FC53-4ECE-84EA-29527E1B1CF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6619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chart" Target="../charts/chart1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E104E0D-986A-ED9C-EBE7-E06F2909DF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957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6" progId="TCLayout.ActiveDocument.1">
                  <p:embed/>
                </p:oleObj>
              </mc:Choice>
              <mc:Fallback>
                <p:oleObj name="think-cell Slide" r:id="rId1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A14F64-B703-63F9-90FD-69B9DD11EC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1175" y="604734"/>
            <a:ext cx="6091445" cy="80652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Herd Growth</a:t>
            </a:r>
            <a:endParaRPr lang="en-AU" dirty="0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E88C73C5-433E-5015-1C95-39A70CC3F07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8030449"/>
              </p:ext>
            </p:extLst>
          </p:nvPr>
        </p:nvGraphicFramePr>
        <p:xfrm>
          <a:off x="1638300" y="1260475"/>
          <a:ext cx="8882063" cy="527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974975" y="628650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198FA1-1E0B-4C03-B915-91C1309BE487}" type="datetime'''''''''''2''''''''''''''''''''0''''''''''2''''''''2'''''''''">
              <a:rPr lang="en-AU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AU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881688" y="628650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AEDF18-06A6-4851-9463-CE37CD30DBF9}" type="datetime'2''''''''''''''''0''''''''2''''''''''''''''''3'''''''">
              <a:rPr lang="en-AU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AU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786813" y="628650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FEDE73-A8BF-4176-A0BA-EFE717D041CC}" type="datetime'2''''''0''''''''''2''''''4'''''''''''''''''''''''''">
              <a:rPr lang="en-AU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AU" sz="14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A81E4647-B123-FE70-23C2-B7A080D1EE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12850" y="4837113"/>
            <a:ext cx="1009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8F849C4-AE19-421A-8A01-8D607F2C8CBD}" type="datetime'''''''B''r''ow''n'''''''' ''''''''''S''h''e''''''e''p'''">
              <a:rPr lang="en-AU" altLang="en-US" sz="1400" smtClean="0"/>
              <a:pPr/>
              <a:t>Brown Sheep</a:t>
            </a:fld>
            <a:endParaRPr lang="en-AU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270000" y="5356225"/>
            <a:ext cx="952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C0AFE01-7ABB-4334-814E-5946EC7DC760}" type="datetime'''''''B''lac''''''''''k'''' ''''''S''''h''''''e''e''''p'''''''">
              <a:rPr lang="en-AU" altLang="en-US" sz="1400" smtClean="0"/>
              <a:pPr/>
              <a:t>Black Sheep</a:t>
            </a:fld>
            <a:endParaRPr lang="en-AU" sz="14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8E64A3C-5037-74B3-01AC-5DEBAD5CB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50950" y="5873750"/>
            <a:ext cx="971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8D9770-9A23-48C5-94F1-DAA4052B35CD}" type="datetime'''''W''''''h''i''te'' ''''''''''''''''''S''''''''h''ee''''''p'">
              <a:rPr lang="en-AU" altLang="en-US" sz="1400" smtClean="0"/>
              <a:pPr/>
              <a:t>White Sheep</a:t>
            </a:fld>
            <a:endParaRPr lang="en-AU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098800" y="4456113"/>
            <a:ext cx="146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0632EE-F380-4431-B12A-A05A081C1716}" type="datetime'''3'''''''''''''''''''''''''''''''''''''''''''''">
              <a:rPr lang="en-AU" altLang="en-US" sz="1400" smtClean="0"/>
              <a:pPr/>
              <a:t>3</a:t>
            </a:fld>
            <a:endParaRPr lang="en-AU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05513" y="2903538"/>
            <a:ext cx="146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6498C3-657F-464C-86A4-A1640322163D}" type="datetime'6'''''''''''''''''''''''''''''''''''''''''''">
              <a:rPr lang="en-AU" altLang="en-US" sz="1400" smtClean="0"/>
              <a:pPr/>
              <a:t>6</a:t>
            </a:fld>
            <a:endParaRPr lang="en-AU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A3796D-9538-5887-0891-B17F135A713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910638" y="1349375"/>
            <a:ext cx="146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5338C3-719E-40A5-9DA8-301BBA595325}" type="datetime'''''''''''''''''''''''''''''9'''''''''''''''">
              <a:rPr lang="en-AU" altLang="en-US" sz="1400" smtClean="0"/>
              <a:pPr/>
              <a:t>9</a:t>
            </a:fld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val="2628746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DhVOBRicyD2o8fE123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FqrScV43PXNBrcNJz6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XYcwcMEQ_Hn6N_IqR6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2HmHJCmL6jgb9Lh8zD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PJUVJjkVF.q1PgKCV4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OSqDEBWA4iAnjCwKit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lPgE3vpRPgIIShVIWO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6cPjHYbu6HL8N8CMoS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fTQnijvOTXeFPSqcpv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6N3HsIwqt.S7bmDJVzZ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20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Herd Growt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rd Growth</dc:title>
  <dc:creator>Zoe de Kraker</dc:creator>
  <cp:lastModifiedBy>Zoe de Kraker</cp:lastModifiedBy>
  <cp:revision>3</cp:revision>
  <dcterms:created xsi:type="dcterms:W3CDTF">2024-05-06T02:52:27Z</dcterms:created>
  <dcterms:modified xsi:type="dcterms:W3CDTF">2024-05-06T08:14:19Z</dcterms:modified>
</cp:coreProperties>
</file>